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ags/tag5.xml" ContentType="application/vnd.openxmlformats-officedocument.presentationml.tags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8"/>
  </p:notesMasterIdLst>
  <p:sldIdLst>
    <p:sldId id="256" r:id="rId2"/>
    <p:sldId id="315" r:id="rId3"/>
    <p:sldId id="363" r:id="rId4"/>
    <p:sldId id="436" r:id="rId5"/>
    <p:sldId id="437" r:id="rId6"/>
    <p:sldId id="438" r:id="rId7"/>
    <p:sldId id="364" r:id="rId8"/>
    <p:sldId id="365" r:id="rId9"/>
    <p:sldId id="439" r:id="rId10"/>
    <p:sldId id="440" r:id="rId11"/>
    <p:sldId id="441" r:id="rId12"/>
    <p:sldId id="442" r:id="rId13"/>
    <p:sldId id="443" r:id="rId14"/>
    <p:sldId id="444" r:id="rId15"/>
    <p:sldId id="445" r:id="rId16"/>
    <p:sldId id="446" r:id="rId17"/>
    <p:sldId id="447" r:id="rId18"/>
    <p:sldId id="418" r:id="rId19"/>
    <p:sldId id="419" r:id="rId20"/>
    <p:sldId id="420" r:id="rId21"/>
    <p:sldId id="421" r:id="rId22"/>
    <p:sldId id="422" r:id="rId23"/>
    <p:sldId id="423" r:id="rId24"/>
    <p:sldId id="424" r:id="rId25"/>
    <p:sldId id="425" r:id="rId26"/>
    <p:sldId id="426" r:id="rId27"/>
    <p:sldId id="427" r:id="rId28"/>
    <p:sldId id="428" r:id="rId29"/>
    <p:sldId id="429" r:id="rId30"/>
    <p:sldId id="430" r:id="rId31"/>
    <p:sldId id="431" r:id="rId32"/>
    <p:sldId id="432" r:id="rId33"/>
    <p:sldId id="435" r:id="rId34"/>
    <p:sldId id="433" r:id="rId35"/>
    <p:sldId id="434" r:id="rId36"/>
    <p:sldId id="469" r:id="rId37"/>
    <p:sldId id="470" r:id="rId38"/>
    <p:sldId id="471" r:id="rId39"/>
    <p:sldId id="472" r:id="rId40"/>
    <p:sldId id="473" r:id="rId41"/>
    <p:sldId id="474" r:id="rId42"/>
    <p:sldId id="475" r:id="rId43"/>
    <p:sldId id="476" r:id="rId44"/>
    <p:sldId id="477" r:id="rId45"/>
    <p:sldId id="478" r:id="rId46"/>
    <p:sldId id="479" r:id="rId47"/>
    <p:sldId id="480" r:id="rId48"/>
    <p:sldId id="481" r:id="rId49"/>
    <p:sldId id="482" r:id="rId50"/>
    <p:sldId id="483" r:id="rId51"/>
    <p:sldId id="484" r:id="rId52"/>
    <p:sldId id="485" r:id="rId53"/>
    <p:sldId id="486" r:id="rId54"/>
    <p:sldId id="487" r:id="rId55"/>
    <p:sldId id="488" r:id="rId56"/>
    <p:sldId id="489" r:id="rId57"/>
    <p:sldId id="490" r:id="rId58"/>
    <p:sldId id="491" r:id="rId59"/>
    <p:sldId id="492" r:id="rId60"/>
    <p:sldId id="493" r:id="rId61"/>
    <p:sldId id="494" r:id="rId62"/>
    <p:sldId id="495" r:id="rId63"/>
    <p:sldId id="496" r:id="rId64"/>
    <p:sldId id="497" r:id="rId65"/>
    <p:sldId id="498" r:id="rId66"/>
    <p:sldId id="261" r:id="rId67"/>
  </p:sldIdLst>
  <p:sldSz cx="12192000" cy="6858000"/>
  <p:notesSz cx="6858000" cy="9144000"/>
  <p:custDataLst>
    <p:tags r:id="rId6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5">
          <p15:clr>
            <a:srgbClr val="A4A3A4"/>
          </p15:clr>
        </p15:guide>
        <p15:guide id="2" pos="383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48"/>
      </p:cViewPr>
      <p:guideLst>
        <p:guide orient="horz" pos="2185"/>
        <p:guide pos="383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3990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.png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1.xml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4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2.xml"/><Relationship Id="rId4" Type="http://schemas.openxmlformats.org/officeDocument/2006/relationships/image" Target="../media/image4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3.xml"/><Relationship Id="rId4" Type="http://schemas.openxmlformats.org/officeDocument/2006/relationships/image" Target="../media/image5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4.xml"/><Relationship Id="rId4" Type="http://schemas.openxmlformats.org/officeDocument/2006/relationships/image" Target="../media/image5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5.xml"/><Relationship Id="rId4" Type="http://schemas.openxmlformats.org/officeDocument/2006/relationships/image" Target="../media/image5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6.xml"/><Relationship Id="rId4" Type="http://schemas.openxmlformats.org/officeDocument/2006/relationships/image" Target="../media/image5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7.xml"/><Relationship Id="rId4" Type="http://schemas.openxmlformats.org/officeDocument/2006/relationships/image" Target="../media/image5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8.xml"/><Relationship Id="rId4" Type="http://schemas.openxmlformats.org/officeDocument/2006/relationships/image" Target="../media/image6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0.xml"/><Relationship Id="rId4" Type="http://schemas.openxmlformats.org/officeDocument/2006/relationships/image" Target="../media/image6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3.xml"/><Relationship Id="rId4" Type="http://schemas.openxmlformats.org/officeDocument/2006/relationships/image" Target="../media/image6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5.xml"/><Relationship Id="rId4" Type="http://schemas.openxmlformats.org/officeDocument/2006/relationships/image" Target="../media/image7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8.xml"/><Relationship Id="rId4" Type="http://schemas.openxmlformats.org/officeDocument/2006/relationships/image" Target="../media/image7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9.xml"/><Relationship Id="rId4" Type="http://schemas.openxmlformats.org/officeDocument/2006/relationships/image" Target="../media/image7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0.xml"/><Relationship Id="rId4" Type="http://schemas.openxmlformats.org/officeDocument/2006/relationships/image" Target="../media/image78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1.xml"/><Relationship Id="rId4" Type="http://schemas.openxmlformats.org/officeDocument/2006/relationships/image" Target="../media/image8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5.xml"/><Relationship Id="rId4" Type="http://schemas.openxmlformats.org/officeDocument/2006/relationships/image" Target="../media/image91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6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7.xml"/><Relationship Id="rId4" Type="http://schemas.openxmlformats.org/officeDocument/2006/relationships/image" Target="../media/image95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95780"/>
            <a:ext cx="9535795" cy="353822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在Windows下的特点：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1 在Windows下，Redis服务器使用一个默认端口(6379)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2 团队只正式支持Windows 64位版本的Redis。 如果需要的话，您可以从源代码构建32位版本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3 您可以从发布页面下载最新的未签名的二进制文件和未签名的MSI安装程序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4 对于Redis 2.8.17.1之前的版本，二进制文件可以在源文件中的bin/release文件夹下的zip文件中找到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5 签名的二进制文件可通过NuGet和Chocolatey获得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6 Redis可以作为Windows服务进行安装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07465" y="1729105"/>
            <a:ext cx="997585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本节中使用的是基于Windows 64位版本下的Redis安装包,访问Redis的下载地址找到最新版的windows 64位的Redis安装包Redis-x64-3.2.100.zip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7465" y="2639378"/>
            <a:ext cx="5274310" cy="136461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543810" y="4389755"/>
            <a:ext cx="447040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Windows开源版本只支持Windows  64位系统。笔者下载 Redis-x64-3.2.100.zip压缩包到 D 盘，解压后将文件夹重新命名为 Redis，可以看到Redis文件夹有如下文件</a:t>
            </a:r>
          </a:p>
        </p:txBody>
      </p:sp>
      <p:pic>
        <p:nvPicPr>
          <p:cNvPr id="11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1375" y="3676968"/>
            <a:ext cx="3407410" cy="271970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95780"/>
            <a:ext cx="8928735" cy="353822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可执行命令和配置文件用途说明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1 redis-benchmark.exe    测试工具，测试Redis的读写性能情况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2 redis-check-aof.exe       数据导入，AOF文件修复工具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3 redis-cli.exe                   Redis 客户端程序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4 redis-server.exe             Redis服务器程序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5 redis.windows.conf        Redis在Windows下的配置文件，主要是一些Redis的默认服务配置，包括默认端口号(6379)等 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60170" y="1729105"/>
            <a:ext cx="1810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服务器</a:t>
            </a:r>
          </a:p>
        </p:txBody>
      </p:sp>
      <p:sp>
        <p:nvSpPr>
          <p:cNvPr id="4" name="矩形 3"/>
          <p:cNvSpPr/>
          <p:nvPr/>
        </p:nvSpPr>
        <p:spPr>
          <a:xfrm>
            <a:off x="1506220" y="2066290"/>
            <a:ext cx="512699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按”Win + R” 组合键运行cmd命令，进入DOS模式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下图所示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</a:p>
        </p:txBody>
      </p:sp>
      <p:pic>
        <p:nvPicPr>
          <p:cNvPr id="32" name="图片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9723" y="2896235"/>
            <a:ext cx="2303145" cy="121666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465580" y="4361815"/>
            <a:ext cx="54356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使用cd命令切换目录到 d:\Redis目录下，运行以下命令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0040" y="4835525"/>
            <a:ext cx="2743200" cy="18097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797040" y="1327785"/>
            <a:ext cx="487553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输入命令后，如果在窗口中会显示如下信息Redis服务器就运行成功了，在窗口提示中会带有Redis服务器的版本号、运行进程号(pid)、运行端口信息(port),默认的监听端口是6379 </a:t>
            </a:r>
          </a:p>
        </p:txBody>
      </p:sp>
      <p:pic>
        <p:nvPicPr>
          <p:cNvPr id="8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2128" y="3130868"/>
            <a:ext cx="4810125" cy="285305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29105"/>
            <a:ext cx="10114915" cy="230695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运行redis-server命令启动的是Redis服务，是在前台控制台直接运行的，也就是说，执行完该命令后，如果关闭当前命令行窗口，Redis服务也会相应的关闭。因此一般会将其改为从后台的Windows服务启动，并且设置为开机自动启动，就像数据库服务器中的SQL Server服务和Web服务器中的IIS服务一样.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还需要把Redis的安装目录添加到系统环境变量Path中，在桌面上右击”我的电脑”，弹出快捷菜单，选择”属性”  –&gt;  “高级系统设置”  –&gt;  “高级”，点击”环境变量”按钮，如图所示。在系统变量Path中添以下加变量值，也就是Redis的安装目录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135" y="4160520"/>
            <a:ext cx="923925" cy="180975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88110" y="1729105"/>
            <a:ext cx="896683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）D:/Redis 是笔者在本机上安装Redis的位置，读者需要根据自己机器上的实际情况进行修改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）D:/Redis安装目录的路径，为了避免字符串转义，路径分隔符使用 “/” 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）Windows系统变量Path中的变量之间使用”;” (分号)进行分隔。</a:t>
            </a:r>
          </a:p>
        </p:txBody>
      </p:sp>
      <p:pic>
        <p:nvPicPr>
          <p:cNvPr id="38" name="图片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9590" y="3014345"/>
            <a:ext cx="3130550" cy="3059430"/>
          </a:xfrm>
          <a:prstGeom prst="rect">
            <a:avLst/>
          </a:prstGeom>
        </p:spPr>
      </p:pic>
      <p:pic>
        <p:nvPicPr>
          <p:cNvPr id="47" name="图片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8040" y="2954020"/>
            <a:ext cx="3176270" cy="311975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60170" y="1729105"/>
            <a:ext cx="180149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客户端</a:t>
            </a:r>
          </a:p>
        </p:txBody>
      </p:sp>
      <p:sp>
        <p:nvSpPr>
          <p:cNvPr id="100" name="矩形 99"/>
          <p:cNvSpPr/>
          <p:nvPr/>
        </p:nvSpPr>
        <p:spPr>
          <a:xfrm>
            <a:off x="1360170" y="2066290"/>
            <a:ext cx="998474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重新启动一个新的控制台窗口，原来的控制台窗口不要关闭，不然就无法访问Redis服务器了。在新的cmd控制台窗口运行以下命令启动Redis客户端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5895" y="2649855"/>
            <a:ext cx="2647950" cy="18097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445895" y="2830830"/>
            <a:ext cx="223075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客户端基本参数介绍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5895" y="3194685"/>
            <a:ext cx="2876550" cy="38100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445895" y="3575685"/>
            <a:ext cx="989965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每次启动Redis客户端都需要输入redis-cli命令，这样操作不是很方便，在Windows平台下，我们可以新建一个批处理文件，命名为runRedisClient.bat，把启动Redis客户端命令写在这个批处理文件里，以后只要点击这个批处理文件就可以启动Redis客户端了，如下图所示。本批处理文件存放在 Redis/Chapter01目录下</a:t>
            </a:r>
          </a:p>
        </p:txBody>
      </p:sp>
      <p:pic>
        <p:nvPicPr>
          <p:cNvPr id="51" name="图片 5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5895" y="4405313"/>
            <a:ext cx="5274310" cy="199072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360170" y="1729105"/>
            <a:ext cx="180149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 dirty="0">
                <a:latin typeface="+mj-ea"/>
                <a:sym typeface="+mn-ea"/>
              </a:rPr>
              <a:t>停止</a:t>
            </a:r>
            <a:r>
              <a:rPr lang="en-US" altLang="zh-CN" sz="1600" dirty="0">
                <a:latin typeface="+mj-ea"/>
                <a:sym typeface="+mn-ea"/>
              </a:rPr>
              <a:t>Redis</a:t>
            </a:r>
            <a:r>
              <a:rPr lang="zh-CN" altLang="en-US" sz="1600" dirty="0">
                <a:latin typeface="+mj-ea"/>
                <a:sym typeface="+mn-ea"/>
              </a:rPr>
              <a:t>服务</a:t>
            </a:r>
          </a:p>
        </p:txBody>
      </p:sp>
      <p:sp>
        <p:nvSpPr>
          <p:cNvPr id="8" name="矩形 7"/>
          <p:cNvSpPr/>
          <p:nvPr/>
        </p:nvSpPr>
        <p:spPr>
          <a:xfrm>
            <a:off x="1360170" y="2066290"/>
            <a:ext cx="909574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 dirty="0">
                <a:latin typeface="+mj-ea"/>
                <a:sym typeface="+mn-ea"/>
              </a:rPr>
              <a:t>在 Redis客户端输入shutdown命令，会关闭 Redis 服务器，然后持久化Redis内存中的数据到文件</a:t>
            </a:r>
          </a:p>
        </p:txBody>
      </p:sp>
      <p:pic>
        <p:nvPicPr>
          <p:cNvPr id="9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878" y="2489518"/>
            <a:ext cx="5066665" cy="58991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0805" y="1795780"/>
            <a:ext cx="465963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首先，从Redis官网下载稳定版本的Redis源码包</a:t>
            </a:r>
            <a:r>
              <a:rPr lang="zh-CN" altLang="en-US" sz="1600" dirty="0">
                <a:latin typeface="+mj-ea"/>
                <a:sym typeface="+mn-ea"/>
              </a:rPr>
              <a:t>；</a:t>
            </a:r>
          </a:p>
        </p:txBody>
      </p:sp>
      <p:pic>
        <p:nvPicPr>
          <p:cNvPr id="346" name="图片 3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8115" y="2199640"/>
            <a:ext cx="4838700" cy="3422650"/>
          </a:xfrm>
          <a:prstGeom prst="rect">
            <a:avLst/>
          </a:prstGeom>
        </p:spPr>
      </p:pic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6440805" y="2190750"/>
          <a:ext cx="4425950" cy="731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9085"/>
                <a:gridCol w="2856865"/>
              </a:tblGrid>
              <a:tr h="1524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600" b="0"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Cent</a:t>
                      </a:r>
                      <a:r>
                        <a:rPr lang="en-US" sz="1600" b="0">
                          <a:cs typeface="+mn-lt"/>
                        </a:rPr>
                        <a:t>OS 7 的</a:t>
                      </a: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64位平台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Redis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6.0.6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Gcc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ea typeface="宋体" panose="02010600030101010101" pitchFamily="2" charset="-122"/>
                          <a:cs typeface="+mn-lt"/>
                        </a:rPr>
                        <a:t>9.3.1</a:t>
                      </a:r>
                      <a:endParaRPr lang="en-US" altLang="en-US" sz="1600" b="0">
                        <a:ea typeface="宋体" panose="02010600030101010101" pitchFamily="2" charset="-122"/>
                        <a:cs typeface="+mn-lt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6440805" y="1777365"/>
            <a:ext cx="28930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Linux安装环境信息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360805" y="1722120"/>
            <a:ext cx="430403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600" b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首先，安装</a:t>
            </a:r>
            <a:r>
              <a:rPr lang="en-US" sz="1600" b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gcc</a:t>
            </a:r>
            <a:r>
              <a:rPr lang="zh-CN" sz="1600" b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基础依赖包，使用如下命令：</a:t>
            </a:r>
            <a:endParaRPr lang="zh-CN" altLang="en-US" sz="1600" b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6360" y="2132965"/>
            <a:ext cx="2171700" cy="1905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56360" y="2397125"/>
            <a:ext cx="625665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为了编译最新版本的Redis源码还需要使用 devtoolset升级gcc版本：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56360" y="2727325"/>
            <a:ext cx="5267325" cy="7334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360805" y="3523615"/>
            <a:ext cx="872363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安装devtoolset后,需要输入</a:t>
            </a:r>
            <a:r>
              <a:rPr lang="zh-CN" sz="1600">
                <a:solidFill>
                  <a:schemeClr val="accent3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cl enable devtoolset-9 bash</a:t>
            </a: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来启动devtoolset。</a:t>
            </a:r>
          </a:p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启动devtoolset后仅针对本次会话有效,若重新登陆Linux，需要再次使用</a:t>
            </a:r>
            <a:r>
              <a:rPr lang="zh-CN" sz="1600">
                <a:solidFill>
                  <a:schemeClr val="accent3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cl</a:t>
            </a: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命令激活devtoolset。</a:t>
            </a:r>
          </a:p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若要使devtoolset长期有效，需要输入</a:t>
            </a:r>
            <a:r>
              <a:rPr lang="zh-CN" sz="1600">
                <a:solidFill>
                  <a:schemeClr val="accent3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echo "source /opt/rh/devtoolset-9/enable" &gt;&gt;/etc/profile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360805" y="4371340"/>
            <a:ext cx="863028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输入gcc -v命令查看升级后的gcc 版本，如图所示，可以看出当前的gcc版本为9.3.1，使用这个版本的gcc来编译Redis源码</a:t>
            </a:r>
          </a:p>
        </p:txBody>
      </p:sp>
      <p:pic>
        <p:nvPicPr>
          <p:cNvPr id="147" name="图片 14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9375" y="4972685"/>
            <a:ext cx="7555230" cy="139001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1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Redis</a:t>
            </a:r>
            <a:r>
              <a:rPr lang="zh-CN" altLang="en-US" sz="2400" b="1" dirty="0" smtClean="0">
                <a:solidFill>
                  <a:srgbClr val="0000FF"/>
                </a:solidFill>
                <a:latin typeface="+mj-ea"/>
                <a:ea typeface="+mj-ea"/>
              </a:rPr>
              <a:t>快速入门</a:t>
            </a:r>
            <a:endParaRPr lang="en-US" altLang="zh-CN" sz="2400" b="1" dirty="0">
              <a:solidFill>
                <a:srgbClr val="0000FF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可视化工具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集群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4385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6909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360805" y="1795780"/>
            <a:ext cx="696785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建立Redis下载文件夹 /upload，在这个目录里下载最新版本的Redis源码包：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6385" y="2199640"/>
            <a:ext cx="4581525" cy="5334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360805" y="2799715"/>
            <a:ext cx="194119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解压缩Redis压缩包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6385" y="3136900"/>
            <a:ext cx="2600325" cy="1809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360805" y="3371215"/>
            <a:ext cx="185610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进入解压后的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6385" y="3741420"/>
            <a:ext cx="1600200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360805" y="4039235"/>
            <a:ext cx="306514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使用make命令编译Redis源文件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6385" y="4376420"/>
            <a:ext cx="876300" cy="2000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360805" y="4707255"/>
            <a:ext cx="237172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编译成功后，安装Redis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6385" y="5053330"/>
            <a:ext cx="3000375" cy="1714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253490" y="1729105"/>
            <a:ext cx="8302625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make命令使用的参数PREFIX代表安装路径，参数要大写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执行make命令后会自动把Redis的可执行命令复制到 “/usr/local/redis/bin”目录下，这样执行Redis命令时，就不用输入完整路径了。进入安装目录bin下，此时的目录结构如图：</a:t>
            </a:r>
          </a:p>
        </p:txBody>
      </p:sp>
      <p:pic>
        <p:nvPicPr>
          <p:cNvPr id="162" name="图片 16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8595" y="3788093"/>
            <a:ext cx="3314700" cy="1692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545455" y="3687445"/>
            <a:ext cx="4658360" cy="1599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28600"/>
            <a:r>
              <a:rPr lang="en-US" sz="1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1400" b="1">
                <a:latin typeface="Calibri" panose="020F0502020204030204" charset="0"/>
                <a:ea typeface="宋体" panose="02010600030101010101" pitchFamily="2" charset="-122"/>
              </a:rPr>
              <a:t>的</a:t>
            </a:r>
            <a:r>
              <a:rPr lang="en-US" sz="1400" b="1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bin</a:t>
            </a:r>
            <a:r>
              <a:rPr lang="zh-CN" sz="1400" b="1">
                <a:latin typeface="Calibri" panose="020F0502020204030204" charset="0"/>
                <a:ea typeface="宋体" panose="02010600030101010101" pitchFamily="2" charset="-122"/>
              </a:rPr>
              <a:t>目录下的文件如下：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benchmark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性能测试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check-aof AOF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文件修复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check-rdb RDB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文件修复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cli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 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命令行客户端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sentina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 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集群管理工具</a:t>
            </a:r>
            <a:endParaRPr lang="en-US" sz="1400" b="0">
              <a:latin typeface="Wingdings" panose="05000000000000000000" charset="0"/>
              <a:ea typeface="宋体" panose="02010600030101010101" pitchFamily="2" charset="-122"/>
            </a:endParaRPr>
          </a:p>
          <a:p>
            <a:pPr indent="228600"/>
            <a:r>
              <a:rPr lang="en-US" sz="1400" b="0">
                <a:latin typeface="Wingdings" panose="05000000000000000000" charset="0"/>
                <a:ea typeface="宋体" panose="02010600030101010101" pitchFamily="2" charset="-122"/>
              </a:rPr>
              <a:t>l 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redis-serve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  <a:cs typeface="Times New Roman" panose="02020603050405020304" charset="0"/>
              </a:rPr>
              <a:t>		R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edis</a:t>
            </a:r>
            <a:r>
              <a:rPr lang="zh-CN" sz="1400" b="0">
                <a:latin typeface="Calibri" panose="020F0502020204030204" charset="0"/>
                <a:ea typeface="宋体" panose="02010600030101010101" pitchFamily="2" charset="-122"/>
              </a:rPr>
              <a:t>服务进程命令</a:t>
            </a:r>
            <a:endParaRPr lang="zh-CN" altLang="en-US" sz="1400" b="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271905" y="1729105"/>
            <a:ext cx="1024636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安装成功后，需要对Redis进行部署，把Redis的配置文件redis.conf拷贝到 “/usr/local/redis/conf”目录下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2070" y="2379345"/>
            <a:ext cx="2895600" cy="3619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271905" y="2595245"/>
            <a:ext cx="8858250" cy="107632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这时在”/usr/local/redis/bin”目录下就包含Redis所有的可执行命令, 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”/usr/local/redis/conf”目录下放置redis的配置文件redis.conf。目录结构如图</a:t>
            </a:r>
          </a:p>
        </p:txBody>
      </p:sp>
      <p:pic>
        <p:nvPicPr>
          <p:cNvPr id="349" name="图片 3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2070" y="3785870"/>
            <a:ext cx="2331720" cy="14782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32230" y="1795780"/>
            <a:ext cx="8919845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最后，将Redis的命令所在目录添加到系统参数PATH中，修改/etc/profile文件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7160" y="2463800"/>
            <a:ext cx="1504950" cy="20002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32230" y="2578100"/>
            <a:ext cx="422529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 /etc/profile文件最后一行添加以下内容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7160" y="3161665"/>
            <a:ext cx="2971800" cy="1905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332230" y="3398520"/>
            <a:ext cx="404241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然后输入source命令使这个文件立即生效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7160" y="4093845"/>
            <a:ext cx="1819275" cy="18097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32230" y="4274820"/>
            <a:ext cx="436118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至此， Redis在Linux上的安装和配置就结束了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1369695" y="2247265"/>
            <a:ext cx="3602990" cy="304609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启动Redis服务器并加载配置文件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查看Redis状态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启动Redis客户端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设置RDB快照地址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开启Redis多线程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6 停止Redis服务器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69695" y="1878965"/>
            <a:ext cx="242443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>
                <a:latin typeface="+mj-ea"/>
                <a:sym typeface="+mn-ea"/>
              </a:rPr>
              <a:t>Redis</a:t>
            </a:r>
            <a:r>
              <a:rPr lang="zh-CN" altLang="en-US">
                <a:latin typeface="+mj-ea"/>
                <a:sym typeface="+mn-ea"/>
              </a:rPr>
              <a:t>服务启动与关闭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34194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启动Redis服务器并加载配置文件</a:t>
            </a:r>
          </a:p>
        </p:txBody>
      </p:sp>
      <p:sp>
        <p:nvSpPr>
          <p:cNvPr id="5" name="矩形 4"/>
          <p:cNvSpPr/>
          <p:nvPr/>
        </p:nvSpPr>
        <p:spPr>
          <a:xfrm>
            <a:off x="1386840" y="2004695"/>
            <a:ext cx="1025715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的服务器分为前台启动服务器和后台启动服务器。前台启动Redis服务器将占用当前命令行，从前台启动Redis服务器时，执行redis-server命令时需要指定配置文件redis.conf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3685" y="2904490"/>
            <a:ext cx="3629025" cy="18097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86840" y="3155315"/>
            <a:ext cx="869886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前台启动Redis服务器成功后如图所示，这个界面将占用命令行，退出请按 “Ctrl + C”组合键</a:t>
            </a:r>
          </a:p>
        </p:txBody>
      </p:sp>
      <p:pic>
        <p:nvPicPr>
          <p:cNvPr id="149" name="图片 1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9230" y="3937000"/>
            <a:ext cx="5661660" cy="226187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7348855" y="3685540"/>
            <a:ext cx="4164330" cy="267652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400" dirty="0">
                <a:latin typeface="+mj-ea"/>
                <a:sym typeface="+mn-ea"/>
              </a:rPr>
              <a:t>这里直接执行Redis-server 命令启动的Redis服务器，是在前台直接运行的(效果如上图)，也就是说，执行完该命令后，如果Linux关闭当前会话，则Redis服务也随即关闭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400" dirty="0">
                <a:latin typeface="+mj-ea"/>
                <a:sym typeface="+mn-ea"/>
              </a:rPr>
              <a:t>从后台启动Redis服务,需要指定启动Redis的配置文件redis.conf,Linux下Redis开机自启动章节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400" dirty="0">
                <a:latin typeface="+mj-ea"/>
                <a:sym typeface="+mn-ea"/>
              </a:rPr>
              <a:t>       如果要后台启动Redis服务，需要修改redis.conf里的daemonize对应的参数改为y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192722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查看Redis状态</a:t>
            </a:r>
          </a:p>
        </p:txBody>
      </p:sp>
      <p:sp>
        <p:nvSpPr>
          <p:cNvPr id="100" name="矩形 99"/>
          <p:cNvSpPr/>
          <p:nvPr/>
        </p:nvSpPr>
        <p:spPr>
          <a:xfrm>
            <a:off x="1537335" y="2097405"/>
            <a:ext cx="661733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Redis服务器后可以输入ps -ef | grep redis 命令查看Redis的进程</a:t>
            </a:r>
          </a:p>
        </p:txBody>
      </p:sp>
      <p:pic>
        <p:nvPicPr>
          <p:cNvPr id="39" name="图片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3065" y="2638425"/>
            <a:ext cx="4777740" cy="35052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1537335" y="3086735"/>
            <a:ext cx="794639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图所示，Redis的进程号(PID)是 73459, 可以输入kill -9 &lt;PID&gt; 命令关闭Redis进程</a:t>
            </a:r>
          </a:p>
        </p:txBody>
      </p:sp>
      <p:sp>
        <p:nvSpPr>
          <p:cNvPr id="9" name="矩形 8"/>
          <p:cNvSpPr/>
          <p:nvPr/>
        </p:nvSpPr>
        <p:spPr>
          <a:xfrm>
            <a:off x="1537335" y="3552825"/>
            <a:ext cx="521335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也可以在控制台输入redis-cli shutdown命令关闭Redi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198882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启动Redis客户端</a:t>
            </a:r>
          </a:p>
        </p:txBody>
      </p:sp>
      <p:sp>
        <p:nvSpPr>
          <p:cNvPr id="5" name="矩形 4"/>
          <p:cNvSpPr/>
          <p:nvPr/>
        </p:nvSpPr>
        <p:spPr>
          <a:xfrm>
            <a:off x="1457960" y="2097405"/>
            <a:ext cx="927608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服务器启动以后，就打开另一个客户端控制台(terminal), 输入redis-cli命令进行测试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检验是否成功连接Redis服务器，如图所示</a:t>
            </a:r>
          </a:p>
        </p:txBody>
      </p:sp>
      <p:pic>
        <p:nvPicPr>
          <p:cNvPr id="45" name="图片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6225" y="3053398"/>
            <a:ext cx="5274310" cy="74993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386840" y="3829685"/>
            <a:ext cx="994918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果看到此图说明Redis服务器已经正常工作，如果Redis服务器未启动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则运行redis-cli命令时会报Could not connect to Redis at 127.0.0.1:6379: Connection refused错误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206946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设置RDB快照地址</a:t>
            </a:r>
          </a:p>
        </p:txBody>
      </p:sp>
      <p:sp>
        <p:nvSpPr>
          <p:cNvPr id="100" name="矩形 99"/>
          <p:cNvSpPr/>
          <p:nvPr/>
        </p:nvSpPr>
        <p:spPr>
          <a:xfrm>
            <a:off x="1386840" y="2097405"/>
            <a:ext cx="10080625" cy="304609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提供了将内存中的数据从持久化到硬盘，以及用持久化文件来恢复数据库数据的功能，Redis支持两种形式的持久化：这部分内容在第5章Redis缓存持久化会详细解释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一种是RDB快照（snapshotting）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一种是AOF（append-only-file）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其中RDB快照是把当前内存中的数据集快照写入到磁盘，也就是 Snapshot 快照（数据库中所有键值对数据），快照的文件名默认是dump.rdb。这个dump.rdb存放位置是不固定的，是存放在启动Redis服务器时的当前目录，有两种方法修改dump.rdb的存放位置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方法一 ：需要使用CONFIG SET dir命令来手工指定dump.rdb的存放目录，如下命令所示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6840" y="5143500"/>
            <a:ext cx="3924300" cy="10668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206248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设置RDB快照地址</a:t>
            </a:r>
          </a:p>
        </p:txBody>
      </p:sp>
      <p:sp>
        <p:nvSpPr>
          <p:cNvPr id="5" name="矩形 4"/>
          <p:cNvSpPr/>
          <p:nvPr/>
        </p:nvSpPr>
        <p:spPr>
          <a:xfrm>
            <a:off x="1529715" y="2230755"/>
            <a:ext cx="582676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方法二：修改redis.conf配置文件里的dir配置选项，如下所示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2585" y="2846705"/>
            <a:ext cx="2105025" cy="19050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529715" y="3192780"/>
            <a:ext cx="731647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然后使用输入redis-server /usr/local/redis/conf/redis.conf 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使用redis-server命令重新加载redis.conf配置文件，使Redis的配置文件生效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611505" y="3225800"/>
            <a:ext cx="10836275" cy="304609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为了获得优异的性能，Redis采用了内存中（in-memory）数据集（dataset）的方式。同时，Redis支持数据的持久化，你可以每隔一段时间将数据集转存到磁盘上（snapshot），或者在日志尾部追加每一条操作命令（append only file,aof）。 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Redis同样支持主从复制（master-slave replication），并且具有非常快速的非阻塞首次同步（ non-blocking first synchronization）、网络断开自动重连等功能。同时Redis还具有其它一些特性，其中包括简单的事物支持、发布订阅 （ pub/sub）、管道（pipeline）和虚拟内存（vm）等 。</a:t>
            </a:r>
          </a:p>
        </p:txBody>
      </p:sp>
      <p:sp>
        <p:nvSpPr>
          <p:cNvPr id="2" name="矩形 1"/>
          <p:cNvSpPr/>
          <p:nvPr/>
        </p:nvSpPr>
        <p:spPr>
          <a:xfrm>
            <a:off x="555625" y="955040"/>
            <a:ext cx="10836275" cy="206121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Redis是一款开源的、高性能的键-值存储（key-value store）。它常被称作是一款数据结构服务器（data structure server）。Redis的键值可以包括字符串（strings）类型，同时它还包括哈希（hashes）、列表（lists）、集合（sets）和 有序集合（sorted sets）等数据类型。 对于这些数据类型，你可以执行原子操作。例如：对字符串进行附加操作（append）；递增哈希中的值；向列表中增加元素；计算集合的交集、并集与差集等。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86840" y="1729105"/>
            <a:ext cx="198882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开启Redis多线程</a:t>
            </a:r>
          </a:p>
        </p:txBody>
      </p:sp>
      <p:sp>
        <p:nvSpPr>
          <p:cNvPr id="100" name="矩形 99"/>
          <p:cNvSpPr/>
          <p:nvPr/>
        </p:nvSpPr>
        <p:spPr>
          <a:xfrm>
            <a:off x="1473835" y="2103120"/>
            <a:ext cx="910971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Redis 6中加入了多线程，使用多线程来处理网络数据的读写和协议解析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执行命令依然是单线程，要开启Redis的多线程功能，可以在redis.conf配置文件中加入以下配置项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4165" y="2890520"/>
            <a:ext cx="3238500" cy="35242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1499235" y="3242945"/>
            <a:ext cx="905891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io-threads线程数最多可设置为Linux服务器中CPU核心数的3/4，也就是说CPU有4个核心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尝试把这个值设置为3，如果CPU有8个核心,尝试把这个值设置为6，但这个值不建议超过8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当设置为多于8个线程时，不会用明显的性能提升，查看Linux服务器CPU核心数的命令是 lscpu，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如图所示</a:t>
            </a:r>
          </a:p>
        </p:txBody>
      </p:sp>
      <p:pic>
        <p:nvPicPr>
          <p:cNvPr id="146" name="图片 14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89530" y="4555490"/>
            <a:ext cx="4592955" cy="183007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368540" y="4555490"/>
            <a:ext cx="361886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可以看出CPU核心数为为4，所以io-threads配置项设置为3，读者需要根据自己机器上的实际情况进行修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Linux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396365" y="1729105"/>
            <a:ext cx="223964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6 停止Redis服务器</a:t>
            </a:r>
          </a:p>
        </p:txBody>
      </p:sp>
      <p:sp>
        <p:nvSpPr>
          <p:cNvPr id="5" name="矩形 4"/>
          <p:cNvSpPr/>
          <p:nvPr/>
        </p:nvSpPr>
        <p:spPr>
          <a:xfrm>
            <a:off x="1463040" y="2097405"/>
            <a:ext cx="680148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新的客户端控制台输入shutdown 命令,会关闭Redis服务器,如图所示</a:t>
            </a:r>
          </a:p>
        </p:txBody>
      </p:sp>
      <p:pic>
        <p:nvPicPr>
          <p:cNvPr id="46" name="图片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5590" y="2660333"/>
            <a:ext cx="5274310" cy="102679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463040" y="3914775"/>
            <a:ext cx="297370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服务器端显示如下图提示</a:t>
            </a:r>
          </a:p>
        </p:txBody>
      </p:sp>
      <p:pic>
        <p:nvPicPr>
          <p:cNvPr id="150" name="图片 15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6225" y="4471035"/>
            <a:ext cx="5274310" cy="6146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100" name="矩形 99"/>
          <p:cNvSpPr/>
          <p:nvPr/>
        </p:nvSpPr>
        <p:spPr>
          <a:xfrm>
            <a:off x="692150" y="1008380"/>
            <a:ext cx="1080770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与传统的关系型数据库一样，Redis也有图形化的管理工具：RedisDesktopManager。RedisDesktopManager是一款好用的Redis桌面管理工具，支持命令控制台操作，以及常用查询keys，rename，delete等操作，读者可以去redisdestop官网下载RedisDesktopManager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运行RedisDesktopManager界面如下图所示</a:t>
            </a:r>
          </a:p>
        </p:txBody>
      </p:sp>
      <p:pic>
        <p:nvPicPr>
          <p:cNvPr id="117" name="图片 11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980565" y="2666365"/>
            <a:ext cx="4689475" cy="34239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1.1 Redis快速入门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1.3 </a:t>
            </a:r>
            <a:r>
              <a:rPr lang="en-US" altLang="zh-CN" sz="2400" b="1" dirty="0" err="1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Redis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可视化工具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  <a:sym typeface="+mn-ea"/>
              </a:rPr>
              <a:t>集群</a:t>
            </a:r>
            <a:r>
              <a:rPr lang="zh-CN" altLang="en-US" sz="2400" dirty="0" smtClean="0">
                <a:latin typeface="+mj-ea"/>
              </a:rPr>
              <a:t>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6909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5370"/>
            <a:ext cx="836041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点击”Connect to Redis Server”按钮来连接Redis服务器。在新建连接页面输入Redis服务器的IP，端口和Redis服务器的连接密码，如下图所示</a:t>
            </a:r>
          </a:p>
        </p:txBody>
      </p:sp>
      <p:pic>
        <p:nvPicPr>
          <p:cNvPr id="120" name="图片 1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700" y="1885315"/>
            <a:ext cx="5924550" cy="43103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可视化工具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5370"/>
            <a:ext cx="1021016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按照上图的样式添加一个连接（连接密码如果没有可以不填写），打开Redis非关系数据库后的界面如下图所示</a:t>
            </a:r>
          </a:p>
        </p:txBody>
      </p:sp>
      <p:pic>
        <p:nvPicPr>
          <p:cNvPr id="12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770" y="1670685"/>
            <a:ext cx="6051550" cy="40703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1.1 Redis快速入门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环境搭建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1.3 Redis可视化工具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1.4 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搭建</a:t>
            </a:r>
            <a:r>
              <a:rPr lang="en-US" altLang="zh-CN" sz="2400" b="1" dirty="0" err="1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Redis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  <a:sym typeface="+mn-ea"/>
              </a:rPr>
              <a:t>集群</a:t>
            </a:r>
            <a:r>
              <a:rPr lang="zh-CN" altLang="en-US" sz="2400" b="1" dirty="0" smtClean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</a:rPr>
              <a:t>环境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6909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1164590" y="1789430"/>
            <a:ext cx="4359275" cy="255333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复制虚拟机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43592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883920" y="1463675"/>
            <a:ext cx="10675620" cy="415417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完成Redis集群环境实验，本书实验环境是在Windows 10下使用VMware虚拟机软件来安装Linux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使用的软件如下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  <a:endParaRPr lang="en-US" altLang="zh-CN" sz="1600" dirty="0">
              <a:latin typeface="+mj-ea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虚拟机软件：VMware® Workstation 15 Pro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Linux：CentOS Linux release 7.4.1708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终端仿真软件：Secure CRT 7.0.0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文件上传工具：SecureFX 7.0.0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虚拟机软件是一种特殊的软件，可以在计算机平台和终端用户之间创建一种环境，而终端用户则是基于虚拟机这个软件所创建的环境来操作其它软件，可以实现一台电脑同时运行多个操作系统，这些操作系统可以是Windows,Linux和Mac等虚拟机软件支持的操作系统，本书使用的虚拟机软件是VMWare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一般把安装虚拟机软件的操作系统称为宿主机，虚拟机软件上安装的操作系统称为虚拟机，当设置虚拟机的网络选项后，可以将宿主机与虚拟机联通，使宿主机上的几个虚拟机操作系统组成一个互联互通的局域网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911860" y="1398270"/>
            <a:ext cx="595820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VMware后, 单击主页窗口“创建新的虚拟机”，如图所示</a:t>
            </a:r>
          </a:p>
        </p:txBody>
      </p:sp>
      <p:pic>
        <p:nvPicPr>
          <p:cNvPr id="23" name="图片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125" y="1858328"/>
            <a:ext cx="5052060" cy="32670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18515" y="971550"/>
            <a:ext cx="16510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sz="2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2400" b="1">
                <a:latin typeface="Calibri" panose="020F0502020204030204" charset="0"/>
                <a:ea typeface="宋体" panose="02010600030101010101" pitchFamily="2" charset="-122"/>
              </a:rPr>
              <a:t>特性</a:t>
            </a:r>
            <a:endParaRPr lang="zh-CN" altLang="en-US" sz="2400" b="1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043305" y="1529080"/>
            <a:ext cx="5808345" cy="353822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. 丰富的数据类型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到目前为止Redis 支持5种基本的数据类型如下：	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1 字符串类型(String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2 哈希类型(Hash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3 列表类型(List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4 集合类型(Set)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5 有序集合类型(Sorted Set)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74166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弹出的”新建虚拟机向导”窗口中选择”自定义(高级)”单选按钮，然后单击”下一步”按钮，如</a:t>
            </a:r>
            <a:r>
              <a:rPr lang="zh-CN" altLang="en-US" sz="1600" dirty="0">
                <a:latin typeface="+mj-ea"/>
                <a:sym typeface="+mn-ea"/>
              </a:rPr>
              <a:t>下左图</a:t>
            </a:r>
            <a:r>
              <a:rPr lang="en-US" altLang="zh-CN" sz="1600" dirty="0">
                <a:latin typeface="+mj-ea"/>
                <a:sym typeface="+mn-ea"/>
              </a:rPr>
              <a:t>所示。然后在新建虚拟机向导窗口硬件兼容性对应的下拉框选择”Vorkstation 12.0”，然后单击”下一步”按钮，如</a:t>
            </a:r>
            <a:r>
              <a:rPr lang="zh-CN" altLang="en-US" sz="1600" dirty="0">
                <a:latin typeface="+mj-ea"/>
                <a:sym typeface="+mn-ea"/>
              </a:rPr>
              <a:t>下右图</a:t>
            </a:r>
            <a:r>
              <a:rPr lang="en-US" altLang="zh-CN"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55" name="图片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070" y="2333625"/>
            <a:ext cx="3576955" cy="3408680"/>
          </a:xfrm>
          <a:prstGeom prst="rect">
            <a:avLst/>
          </a:prstGeom>
        </p:spPr>
      </p:pic>
      <p:pic>
        <p:nvPicPr>
          <p:cNvPr id="137" name="图片 1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5055" y="2333625"/>
            <a:ext cx="3520440" cy="33718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74166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新建虚拟机向导窗口，选择”稍后安装操作系统(S)” ，然后单击”下一步”按钮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在客户机操作系统选项选择”Linux”，版本选项选择”CentOS 64位”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。</a:t>
            </a:r>
          </a:p>
        </p:txBody>
      </p:sp>
      <p:pic>
        <p:nvPicPr>
          <p:cNvPr id="139" name="图片 1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3880" y="2364105"/>
            <a:ext cx="3696970" cy="3545840"/>
          </a:xfrm>
          <a:prstGeom prst="rect">
            <a:avLst/>
          </a:prstGeom>
        </p:spPr>
      </p:pic>
      <p:pic>
        <p:nvPicPr>
          <p:cNvPr id="176" name="图片 17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0825" y="2364105"/>
            <a:ext cx="3731895" cy="356679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946340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</a:t>
            </a:r>
            <a:r>
              <a:rPr lang="zh-CN" sz="1600" dirty="0">
                <a:latin typeface="+mj-ea"/>
                <a:sym typeface="+mn-ea"/>
              </a:rPr>
              <a:t>下面左图</a:t>
            </a:r>
            <a:r>
              <a:rPr sz="1600" dirty="0">
                <a:latin typeface="+mj-ea"/>
                <a:sym typeface="+mn-ea"/>
              </a:rPr>
              <a:t>所示窗口中填入虚拟机名称，然后在位置编辑框中输入合适的路径来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保存虚拟机上创建磁盘后形成的文件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</a:t>
            </a:r>
            <a:r>
              <a:rPr lang="zh-CN" sz="1600" dirty="0">
                <a:latin typeface="+mj-ea"/>
                <a:sym typeface="+mn-ea"/>
              </a:rPr>
              <a:t>下面右图</a:t>
            </a:r>
            <a:r>
              <a:rPr sz="1600" dirty="0">
                <a:latin typeface="+mj-ea"/>
                <a:sym typeface="+mn-ea"/>
              </a:rPr>
              <a:t>所示窗口根据自己机器上CPU个数选择处理器合适的批处理器数量和每个处理器的核心数量</a:t>
            </a:r>
          </a:p>
        </p:txBody>
      </p:sp>
      <p:pic>
        <p:nvPicPr>
          <p:cNvPr id="179" name="图片 1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2555" y="2597150"/>
            <a:ext cx="3773805" cy="3601085"/>
          </a:xfrm>
          <a:prstGeom prst="rect">
            <a:avLst/>
          </a:prstGeom>
        </p:spPr>
      </p:pic>
      <p:pic>
        <p:nvPicPr>
          <p:cNvPr id="180" name="图片 1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7200" y="2597150"/>
            <a:ext cx="3749675" cy="35966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64260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进入的窗口为虚拟机设置合适的内存，根据计算机的配置选择内存大小。为了Redis集群实验，内存建议不低于512MB，这要求宿主机的物理内存不低于8GB，这里我们选择1 GB,然后单击”下一步”按钮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</a:t>
            </a:r>
            <a:r>
              <a:rPr lang="zh-CN" sz="1600" dirty="0">
                <a:latin typeface="+mj-ea"/>
                <a:sym typeface="+mn-ea"/>
              </a:rPr>
              <a:t>下面右图</a:t>
            </a:r>
            <a:r>
              <a:rPr sz="1600" dirty="0">
                <a:latin typeface="+mj-ea"/>
                <a:sym typeface="+mn-ea"/>
              </a:rPr>
              <a:t> 所示窗口中设置虚拟机的网络类型，选择虚拟机与宿主机的联网方式为”使用网络地址转换(NAT)” ，然后单击”下一步”按钮</a:t>
            </a:r>
          </a:p>
        </p:txBody>
      </p:sp>
      <p:pic>
        <p:nvPicPr>
          <p:cNvPr id="181" name="图片 1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5800" y="2966720"/>
            <a:ext cx="3397250" cy="3265170"/>
          </a:xfrm>
          <a:prstGeom prst="rect">
            <a:avLst/>
          </a:prstGeom>
        </p:spPr>
      </p:pic>
      <p:pic>
        <p:nvPicPr>
          <p:cNvPr id="182" name="图片 18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8365" y="2966720"/>
            <a:ext cx="3412490" cy="326771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768223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窗口选择SCSI控制器为”LSI Logic” ，然后单击”下一步”按钮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窗口选择虚拟机磁盘类型为”SCSI(S)” ，然后单击”下一步”按钮</a:t>
            </a:r>
          </a:p>
        </p:txBody>
      </p:sp>
      <p:pic>
        <p:nvPicPr>
          <p:cNvPr id="183" name="图片 1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215" y="2228215"/>
            <a:ext cx="3892550" cy="3700145"/>
          </a:xfrm>
          <a:prstGeom prst="rect">
            <a:avLst/>
          </a:prstGeom>
        </p:spPr>
      </p:pic>
      <p:pic>
        <p:nvPicPr>
          <p:cNvPr id="184" name="图片 1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5615" y="2228215"/>
            <a:ext cx="3867785" cy="37058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窗口磁盘选择”创建新虚拟机磁盘”选项，然后单击”下一步”按钮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VMware针对安装CentOS 64位虚拟机的建议大小是20 GB，设置磁盘容量时大小要合适，为了以后的Redis实验，这里设置为50 GB。选择”将虚拟磁盘存储为单个文件”选项，然后单击”下一步”按钮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85" name="图片 1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0385" y="2597150"/>
            <a:ext cx="3601085" cy="3455035"/>
          </a:xfrm>
          <a:prstGeom prst="rect">
            <a:avLst/>
          </a:prstGeom>
        </p:spPr>
      </p:pic>
      <p:pic>
        <p:nvPicPr>
          <p:cNvPr id="187" name="图片 1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130" y="2597150"/>
            <a:ext cx="3607435" cy="344233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32296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 配置 VMware准备安装CentO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接着会出现设置磁盘文件的信息，这里不做任何修改，采用默认设置，然后单击”下一步”按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然后会出现以准备好创建虚拟机的信息，表示虚拟机安装完成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88" name="图片 18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6430" y="2202180"/>
            <a:ext cx="4051300" cy="3874135"/>
          </a:xfrm>
          <a:prstGeom prst="rect">
            <a:avLst/>
          </a:prstGeom>
        </p:spPr>
      </p:pic>
      <p:pic>
        <p:nvPicPr>
          <p:cNvPr id="189" name="图片 18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9825" y="2198370"/>
            <a:ext cx="4088765" cy="39147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19088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267652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安装完虚拟机后，接下来就可以基于VMware虚拟机安装CentOS系统了。CentOS（Community Enterprise Operating System）是Linux发行版之一，它是来自于Red Hat Enterprise Linux(RHEL)依照开放源代码规定发布的源代码所编译而成。由于出自同样的源代码，因此有些要求高度稳定性的服务器以CentOS替代商业版的Red Hat Enterprise Linux使用。两者的不同，在于CentOS并不包含封闭源代码软件。CentOS 对上游代码的主要修改是为了移除不能自由使用的商标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CentOS官网点击”Get CentOS Now”按钮下载最新的CentOS7版本，如</a:t>
            </a:r>
            <a:r>
              <a:rPr lang="zh-CN" sz="1600" dirty="0">
                <a:latin typeface="+mj-ea"/>
                <a:sym typeface="+mn-ea"/>
              </a:rPr>
              <a:t>下图</a:t>
            </a:r>
            <a:r>
              <a:rPr sz="1600" dirty="0">
                <a:latin typeface="+mj-ea"/>
                <a:sym typeface="+mn-ea"/>
              </a:rPr>
              <a:t>所示，下载到本地硬盘的CentOS安装文件是CentOS-7-x86_64-Everything-1810.iso 镜像文件</a:t>
            </a:r>
          </a:p>
        </p:txBody>
      </p:sp>
      <p:pic>
        <p:nvPicPr>
          <p:cNvPr id="190" name="图片 1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4405" y="3998595"/>
            <a:ext cx="4917440" cy="24053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19088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为了安装CentOS,点击虚拟机的CD/DVD(IDE)选项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在弹出的虚拟机设置窗口选择”使用ISO镜像文件”，然后单击“浏览”按钮，选择之前下载好的CentOS安装文件(ISO格式)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92" name="图片 19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185" y="2228215"/>
            <a:ext cx="3676650" cy="3696970"/>
          </a:xfrm>
          <a:prstGeom prst="rect">
            <a:avLst/>
          </a:prstGeom>
        </p:spPr>
      </p:pic>
      <p:pic>
        <p:nvPicPr>
          <p:cNvPr id="191" name="图片 19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4375" y="2436495"/>
            <a:ext cx="3574415" cy="349123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190881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 安装 Linux系统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配置虚拟机完成后，单击VMware工具栏上的的Power On按钮(绿色的三角形)，启动虚拟机，开始安装CentOS,以后的过程与硬盘上安装CentOS相同，限于本书篇幅所限，不在详述，如</a:t>
            </a:r>
            <a:r>
              <a:rPr lang="zh-CN" sz="1600" dirty="0">
                <a:latin typeface="+mj-ea"/>
                <a:sym typeface="+mn-ea"/>
              </a:rPr>
              <a:t>下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96" name="图片 19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6955" y="2228215"/>
            <a:ext cx="6372225" cy="345630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18515" y="971550"/>
            <a:ext cx="16510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sz="2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2400" b="1">
                <a:latin typeface="Calibri" panose="020F0502020204030204" charset="0"/>
                <a:ea typeface="宋体" panose="02010600030101010101" pitchFamily="2" charset="-122"/>
              </a:rPr>
              <a:t>特性</a:t>
            </a:r>
            <a:endParaRPr lang="zh-CN" altLang="en-US" sz="2400" b="1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061720" y="1520190"/>
            <a:ext cx="9283065" cy="255333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.内存存储与持久化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Redis把所有数据都缓存在内存中。因为基于内存的读写速度快于硬盘，所以Redis在性能上比其它基于硬盘存储的数据库有更大的优势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    将数据存储在内存中也会出现问题，例如，程序退出后内存中的数据会永久丢失。为此 Redis提供对内存中数据的持久化支持，可以将内存中的数据异步写入到硬盘中。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在VMware把CentOS 系统安装完毕后，可以安装VMware的VMware Tools来提高鼠标操作和屏幕显示性能，安装完VMware Tools可以使虚拟机和宿主机互相传输文件，可以让虚拟机系统全屏后扩展到整个显示器屏幕，如下图所示</a:t>
            </a:r>
          </a:p>
        </p:txBody>
      </p:sp>
      <p:pic>
        <p:nvPicPr>
          <p:cNvPr id="84" name="图片 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5690" y="2481580"/>
            <a:ext cx="5687060" cy="319913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启动虚拟机中的CentOS,CentOS启动完毕后，在VMware的“虚拟机”菜单中单击“安装VMware Tools”，如</a:t>
            </a:r>
            <a:r>
              <a:rPr lang="zh-CN" sz="1600" dirty="0">
                <a:latin typeface="+mj-ea"/>
                <a:sym typeface="+mn-ea"/>
              </a:rPr>
              <a:t>下左图</a:t>
            </a:r>
            <a:r>
              <a:rPr sz="1600" dirty="0">
                <a:latin typeface="+mj-ea"/>
                <a:sym typeface="+mn-ea"/>
              </a:rPr>
              <a:t>所示。选中后会自动在虚拟光驱装载VMware Tools软件包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327" name="图片 3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6255" y="2446020"/>
            <a:ext cx="2392680" cy="2118360"/>
          </a:xfrm>
          <a:prstGeom prst="rect">
            <a:avLst/>
          </a:prstGeom>
        </p:spPr>
      </p:pic>
      <p:pic>
        <p:nvPicPr>
          <p:cNvPr id="56" name="图片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0925" y="2228215"/>
            <a:ext cx="6247765" cy="327279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105657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双击虚拟机桌面上的光驱图标，这时显示出光驱中有5个文件，拷贝其中的VMwareTools-10.0.10-4301679.tar.gz 文件到桌面，如</a:t>
            </a:r>
            <a:r>
              <a:rPr lang="zh-CN" sz="1600" dirty="0">
                <a:latin typeface="+mj-ea"/>
                <a:sym typeface="+mn-ea"/>
              </a:rPr>
              <a:t>下右图</a:t>
            </a:r>
            <a:r>
              <a:rPr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142" name="图片 1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1550" y="2322830"/>
            <a:ext cx="7084695" cy="378650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61085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安裝 VMware Tools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11860" y="1398270"/>
            <a:ext cx="874204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然后启动终端，使用命令tar解压缩安装程序，最后执行vmware-install.pl安装VMware Tools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860" y="1858645"/>
            <a:ext cx="5286375" cy="26860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911860" y="4544695"/>
            <a:ext cx="94164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接下来执行vmware-install.pl这个Perl文件，执行过程的最后会根据显示器选择一个合适的屏幕分辨率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860" y="5005070"/>
            <a:ext cx="4648200" cy="20002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911860" y="5356860"/>
            <a:ext cx="584454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安装pl脚本后，为了使配置生效需要重新启动CentOS虚拟机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62863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完成Redis集群实验，需要设置虚拟机的网络连接方式，使得虚拟机之间可以互联互通，组成一个小型的局域网。本节中VMware使用NAT模式搭建可以内网和外网都访问的虚拟机。</a:t>
            </a:r>
          </a:p>
        </p:txBody>
      </p:sp>
      <p:sp>
        <p:nvSpPr>
          <p:cNvPr id="8" name="矩形 7"/>
          <p:cNvSpPr/>
          <p:nvPr/>
        </p:nvSpPr>
        <p:spPr>
          <a:xfrm>
            <a:off x="968375" y="2334260"/>
            <a:ext cx="803275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1， 确定虚拟机服务已经开启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按住 “win + R”，在运行框中输入 services.msc，点击”确定”按钮，弹出服务窗口</a:t>
            </a:r>
          </a:p>
        </p:txBody>
      </p:sp>
      <p:pic>
        <p:nvPicPr>
          <p:cNvPr id="66" name="图片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0330" y="3164205"/>
            <a:ext cx="3508375" cy="186309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743075" y="5165725"/>
            <a:ext cx="276352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运行窗口输入 services.msc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79627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确定以VMWare开头的服务已经开启，如果服务没有开启的话，就选中服务点击鼠标右键选择“启动”选项来开启服务</a:t>
            </a:r>
          </a:p>
        </p:txBody>
      </p:sp>
      <p:pic>
        <p:nvPicPr>
          <p:cNvPr id="140" name="图片 1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440" y="1837055"/>
            <a:ext cx="6325235" cy="42900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79627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2，虚拟机服务开启后，就可以查看虚拟机的网卡是否已经启动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电脑右下角网络标志右键点击“网络和Internet设置”，在设置窗口选择”以太网”，点击”更改适配器选项”。</a:t>
            </a:r>
          </a:p>
        </p:txBody>
      </p:sp>
      <p:pic>
        <p:nvPicPr>
          <p:cNvPr id="143" name="图片 1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3970" y="2292350"/>
            <a:ext cx="2654300" cy="247904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1416050" y="4928235"/>
            <a:ext cx="239014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网络和Internet设置</a:t>
            </a:r>
          </a:p>
        </p:txBody>
      </p:sp>
      <p:sp>
        <p:nvSpPr>
          <p:cNvPr id="3" name="矩形 2"/>
          <p:cNvSpPr/>
          <p:nvPr/>
        </p:nvSpPr>
        <p:spPr>
          <a:xfrm>
            <a:off x="6192520" y="2515235"/>
            <a:ext cx="2987040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查看虚拟机的虚拟网卡启动没有，没有启动的话就选中虚拟机网卡鼠标右键点击启动 </a:t>
            </a:r>
          </a:p>
        </p:txBody>
      </p:sp>
      <p:pic>
        <p:nvPicPr>
          <p:cNvPr id="152" name="图片 1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2520" y="3899218"/>
            <a:ext cx="3124200" cy="136588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788785" y="5339080"/>
            <a:ext cx="16795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查看虚拟机网卡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01065" y="1387475"/>
            <a:ext cx="1079627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Vmware Network Adapter VMnet8网卡开启后需要设置IP地址，本书VmNet8设置的IP为 192.168.11.1</a:t>
            </a:r>
          </a:p>
        </p:txBody>
      </p:sp>
      <p:pic>
        <p:nvPicPr>
          <p:cNvPr id="153" name="图片 1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220" y="1847850"/>
            <a:ext cx="5770245" cy="381762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369185" y="5745480"/>
            <a:ext cx="204343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VmNet8设置IP地址</a:t>
            </a:r>
          </a:p>
        </p:txBody>
      </p:sp>
      <p:sp>
        <p:nvSpPr>
          <p:cNvPr id="6" name="矩形 5"/>
          <p:cNvSpPr/>
          <p:nvPr/>
        </p:nvSpPr>
        <p:spPr>
          <a:xfrm>
            <a:off x="7555865" y="2134870"/>
            <a:ext cx="430403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设置完成后，进入dos 窗口，输入ipconfig 命令查看VMNet8 的IP为192.168.11.1，如下图所示</a:t>
            </a:r>
          </a:p>
        </p:txBody>
      </p:sp>
      <p:pic>
        <p:nvPicPr>
          <p:cNvPr id="155" name="图片 15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6760" y="2814955"/>
            <a:ext cx="2780665" cy="36004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0590" y="1387475"/>
            <a:ext cx="10796270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 设置虚拟机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虚拟机，选中需要操作的虚拟机，右键选择”设置”选项，弹出”虚拟机设置窗口”，在窗口中选择”网络适配器”，选择网络连接为“NAT模式”，然后选择”完成”按钮确定设置，如下图所示</a:t>
            </a:r>
          </a:p>
        </p:txBody>
      </p:sp>
      <p:pic>
        <p:nvPicPr>
          <p:cNvPr id="59" name="图片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810" y="2586355"/>
            <a:ext cx="3745230" cy="366141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303010" y="3003550"/>
            <a:ext cx="490220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点击VMWARE虚拟机菜单栏的”编辑”选项，选择“虚拟网络编辑器”选项</a:t>
            </a:r>
          </a:p>
        </p:txBody>
      </p:sp>
      <p:pic>
        <p:nvPicPr>
          <p:cNvPr id="154" name="图片 1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5725" y="3587115"/>
            <a:ext cx="4570730" cy="28879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0590" y="1387475"/>
            <a:ext cx="710565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”虚拟网络编辑器”窗口，选择”VMnet8”，点击”更改设置”按钮。</a:t>
            </a:r>
          </a:p>
        </p:txBody>
      </p:sp>
      <p:pic>
        <p:nvPicPr>
          <p:cNvPr id="11283" name="图片 112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743" y="1837055"/>
            <a:ext cx="3769995" cy="368046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6078220" y="2102485"/>
            <a:ext cx="492125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VMnet8的子网IP为 192.168.11.0，子网掩码为 255.255.255.0，如下图所示</a:t>
            </a:r>
          </a:p>
        </p:txBody>
      </p:sp>
      <p:pic>
        <p:nvPicPr>
          <p:cNvPr id="157" name="图片 1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0870" y="2685733"/>
            <a:ext cx="3352800" cy="324548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简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18515" y="971550"/>
            <a:ext cx="16510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sz="2400" b="1">
                <a:latin typeface="Calibri" panose="020F0502020204030204" charset="0"/>
                <a:ea typeface="宋体" panose="02010600030101010101" pitchFamily="2" charset="-122"/>
              </a:rPr>
              <a:t>Redis</a:t>
            </a:r>
            <a:r>
              <a:rPr lang="zh-CN" sz="2400" b="1">
                <a:latin typeface="Calibri" panose="020F0502020204030204" charset="0"/>
                <a:ea typeface="宋体" panose="02010600030101010101" pitchFamily="2" charset="-122"/>
              </a:rPr>
              <a:t>特性</a:t>
            </a:r>
            <a:endParaRPr lang="zh-CN" altLang="en-US" sz="2400" b="1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40435" y="1361440"/>
            <a:ext cx="10506710" cy="491680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3.可用于缓存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消息可以根按keys设置过期时间，过期后自动删除keys。使用 setex来设置过期时间 (set expire)时间。按过期时间自动清除keys，对应Redis的setex 命令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endParaRPr lang="en-US" altLang="zh-CN" sz="1600" dirty="0">
              <a:latin typeface="+mj-ea"/>
              <a:sym typeface="+mn-ea"/>
            </a:endParaRP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.功能丰富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是作为数据库开发的，提供了丰富的功能，可以将它用作缓存、队列系统等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可以为每个键设置过期时间，过期时间到期后键会自动被删除。这一功能配合出色的性能让Redis可以作为缓存系统来使用，而且由于Redis支持持久化方式RDB和AOF，使其成为了另一个非常流行的缓存系统Memcached的有力竞争者。</a:t>
            </a:r>
          </a:p>
          <a:p>
            <a:pPr lvl="0" algn="l">
              <a:lnSpc>
                <a:spcPct val="2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实现了Master_Slave这种主从同步的形式。Redis还支持订阅模式，可以用来开发聊天室。  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10590" y="1387475"/>
            <a:ext cx="74225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然后点击”NAT设置”按钮，会弹出NAT设置窗口，设置网关IP为 192.168.11.2</a:t>
            </a:r>
          </a:p>
        </p:txBody>
      </p:sp>
      <p:pic>
        <p:nvPicPr>
          <p:cNvPr id="158" name="图片 1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745" y="1920240"/>
            <a:ext cx="3664585" cy="384873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28263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 虚拟机与宿主机的网络设置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4， 配置CentOS 的静态IP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在CentOS虚拟机的控制台下，修改/etc/sysconfig/network-scripts/ifcfg-ens33文件的配置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5" y="2217420"/>
            <a:ext cx="3609975" cy="200025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921385" y="2417445"/>
            <a:ext cx="23241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后的配置内容如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675" y="2790825"/>
            <a:ext cx="2809875" cy="160020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955675" y="4391025"/>
            <a:ext cx="255841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/etc/resolv.conf文件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675" y="4764405"/>
            <a:ext cx="1885950" cy="18097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955675" y="4981575"/>
            <a:ext cx="141732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添加以下内容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675" y="5318760"/>
            <a:ext cx="2028825" cy="20955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921385" y="5572125"/>
            <a:ext cx="61537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修改完配置文件后，输入service network restart命令，重启网络</a:t>
            </a:r>
          </a:p>
        </p:txBody>
      </p:sp>
      <p:pic>
        <p:nvPicPr>
          <p:cNvPr id="161" name="图片 1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675" y="5953125"/>
            <a:ext cx="4716780" cy="4267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119888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方便使用虚拟机，减少重复配置，可以直接将配置好的虚拟机进行复制，复制虚拟机时被复制的虚拟机必须处于停机状态。在1.4.2小节创建的虚拟机centos7位于 E:\vm_os\centos7 文件夹中，复制centos7文件夹并重新命名为centos64-2，如</a:t>
            </a:r>
            <a:r>
              <a:rPr lang="zh-CN" altLang="en-US" sz="1600" dirty="0">
                <a:latin typeface="+mj-ea"/>
                <a:sym typeface="+mn-ea"/>
              </a:rPr>
              <a:t>下图</a:t>
            </a:r>
            <a:r>
              <a:rPr lang="en-US" altLang="zh-CN"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320" name="图片 3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540" y="2523490"/>
            <a:ext cx="4305300" cy="46482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891540" y="2988310"/>
            <a:ext cx="9638665" cy="82994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打开E:\vm_os\centos64-2文件夹下的 CentOS 64 位.vmx 文件，双击这个文件，如</a:t>
            </a:r>
            <a:r>
              <a:rPr lang="zh-CN" altLang="en-US" sz="1600" dirty="0">
                <a:latin typeface="+mj-ea"/>
                <a:sym typeface="+mn-ea"/>
              </a:rPr>
              <a:t>下左图</a:t>
            </a:r>
            <a:r>
              <a:rPr lang="en-US" altLang="zh-CN" sz="1600" dirty="0">
                <a:latin typeface="+mj-ea"/>
                <a:sym typeface="+mn-ea"/>
              </a:rPr>
              <a:t>所示，在VMware 中加载复制的虚拟机，如</a:t>
            </a:r>
            <a:r>
              <a:rPr lang="zh-CN" altLang="en-US" sz="1600" dirty="0">
                <a:latin typeface="+mj-ea"/>
                <a:sym typeface="+mn-ea"/>
              </a:rPr>
              <a:t>下右</a:t>
            </a:r>
            <a:r>
              <a:rPr lang="en-US" altLang="zh-CN" sz="1600" dirty="0">
                <a:latin typeface="+mj-ea"/>
                <a:sym typeface="+mn-ea"/>
              </a:rPr>
              <a:t>图所示</a:t>
            </a:r>
          </a:p>
        </p:txBody>
      </p:sp>
      <p:pic>
        <p:nvPicPr>
          <p:cNvPr id="322" name="图片 3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650" y="3818255"/>
            <a:ext cx="4069080" cy="2189480"/>
          </a:xfrm>
          <a:prstGeom prst="rect">
            <a:avLst/>
          </a:prstGeom>
        </p:spPr>
      </p:pic>
      <p:pic>
        <p:nvPicPr>
          <p:cNvPr id="323" name="图片 3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7200" y="3911600"/>
            <a:ext cx="4892040" cy="149479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为了区别虚拟机节点，以虚拟机的IP重新命名虚拟机的名字，如</a:t>
            </a:r>
            <a:r>
              <a:rPr lang="zh-CN" altLang="en-US" sz="1600" dirty="0">
                <a:latin typeface="+mj-ea"/>
                <a:sym typeface="+mn-ea"/>
              </a:rPr>
              <a:t>下图</a:t>
            </a:r>
            <a:r>
              <a:rPr lang="en-US" altLang="zh-CN" sz="1600" dirty="0">
                <a:latin typeface="+mj-ea"/>
                <a:sym typeface="+mn-ea"/>
              </a:rPr>
              <a:t>所示</a:t>
            </a:r>
          </a:p>
        </p:txBody>
      </p:sp>
      <p:pic>
        <p:nvPicPr>
          <p:cNvPr id="321" name="图片 3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540" y="1724343"/>
            <a:ext cx="4488180" cy="142176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891540" y="3221990"/>
            <a:ext cx="1059243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启动192.168.11.11的虚拟机操作系统时，会弹出提示窗口如图1-67所示，选择第二个选项”我已经复制该虚拟机(P)” </a:t>
            </a:r>
          </a:p>
        </p:txBody>
      </p:sp>
      <p:pic>
        <p:nvPicPr>
          <p:cNvPr id="199" name="图片 19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540" y="3634740"/>
            <a:ext cx="3368040" cy="1416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复制虚拟机后，由于复制的虚拟机与被复制的虚拟机信息完全一致，所以需要将复制的虚拟机重新进行网络信息的设置，设置的步骤如下：</a:t>
            </a:r>
          </a:p>
        </p:txBody>
      </p:sp>
      <p:sp>
        <p:nvSpPr>
          <p:cNvPr id="3" name="矩形 2"/>
          <p:cNvSpPr/>
          <p:nvPr/>
        </p:nvSpPr>
        <p:spPr>
          <a:xfrm>
            <a:off x="891540" y="2035810"/>
            <a:ext cx="6182995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1，设置IP地址为192.168.11.11的虚拟机的静态IP地址</a:t>
            </a:r>
          </a:p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修改vi /etc/sysconfig/network-scripts/ifcfg-ens33 的配置如下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3465" y="2684145"/>
            <a:ext cx="2914650" cy="160020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977265" y="4287520"/>
            <a:ext cx="507111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2，设置虚拟机192.168.11.11的DNS客户机配置文件</a:t>
            </a:r>
          </a:p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修改/etc/resolv.conf文件的命令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465" y="4871085"/>
            <a:ext cx="1685925" cy="1714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1053465" y="5042535"/>
            <a:ext cx="151130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添加以下内容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465" y="5379720"/>
            <a:ext cx="1933575" cy="20002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1053465" y="5629275"/>
            <a:ext cx="765683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修改完配置文件后，输入service network restart命令，重启网络是配置文件生效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6817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集群环境搭建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50290"/>
            <a:ext cx="1508760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5 </a:t>
            </a:r>
            <a:r>
              <a:rPr lang="zh-CN" altLang="en-US" sz="1600" dirty="0">
                <a:latin typeface="+mj-ea"/>
                <a:sym typeface="+mn-ea"/>
              </a:rPr>
              <a:t>复制</a:t>
            </a:r>
            <a:r>
              <a:rPr lang="en-US" altLang="zh-CN" sz="1600" dirty="0">
                <a:latin typeface="+mj-ea"/>
                <a:sym typeface="+mn-ea"/>
              </a:rPr>
              <a:t>虚拟机</a:t>
            </a:r>
            <a:endParaRPr lang="zh-CN" altLang="en-US" sz="1600" dirty="0">
              <a:latin typeface="+mj-ea"/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91540" y="1387475"/>
            <a:ext cx="8712200" cy="58356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这个虚拟机192.168.11的配置就修改完成了，按照同样的配置添加虚拟机192.168.11.12，192.168.11.13，192.168.11.14和192.168.11.15，配置完成后如下图所示</a:t>
            </a:r>
          </a:p>
        </p:txBody>
      </p:sp>
      <p:pic>
        <p:nvPicPr>
          <p:cNvPr id="11287" name="图片 112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335" y="1971040"/>
            <a:ext cx="5274310" cy="217043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1029335" y="4227830"/>
            <a:ext cx="344487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Redis实验环境的操作系统和IP如下</a:t>
            </a:r>
          </a:p>
        </p:txBody>
      </p:sp>
      <p:graphicFrame>
        <p:nvGraphicFramePr>
          <p:cNvPr id="11" name="表格 10"/>
          <p:cNvGraphicFramePr/>
          <p:nvPr>
            <p:custDataLst>
              <p:tags r:id="rId2"/>
            </p:custDataLst>
          </p:nvPr>
        </p:nvGraphicFramePr>
        <p:xfrm>
          <a:off x="1036003" y="4565015"/>
          <a:ext cx="5267325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46200"/>
                <a:gridCol w="392112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 </a:t>
                      </a:r>
                      <a:r>
                        <a:rPr lang="en-US" sz="1000" b="1">
                          <a:latin typeface="Calibri" panose="020F0502020204030204" charset="0"/>
                          <a:cs typeface="Calibri" panose="020F0502020204030204" charset="0"/>
                        </a:rPr>
                        <a:t> </a:t>
                      </a:r>
                      <a:r>
                        <a:rPr lang="en-US" sz="10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</a:t>
                      </a:r>
                      <a:r>
                        <a:rPr lang="en-US" sz="1000" b="1">
                          <a:latin typeface="Calibri" panose="020F0502020204030204" charset="0"/>
                          <a:cs typeface="Calibri" panose="020F0502020204030204" charset="0"/>
                        </a:rPr>
                        <a:t>7 X86</a:t>
                      </a:r>
                      <a:r>
                        <a:rPr lang="en-US" sz="1000" b="1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_</a:t>
                      </a:r>
                      <a:r>
                        <a:rPr lang="en-US" sz="1000" b="1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endParaRPr lang="en-US" altLang="en-US" sz="1000" b="1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1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2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3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4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92.168.11.15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矩形 11"/>
          <p:cNvSpPr/>
          <p:nvPr/>
        </p:nvSpPr>
        <p:spPr>
          <a:xfrm>
            <a:off x="6798310" y="3804285"/>
            <a:ext cx="434276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600" dirty="0">
                <a:latin typeface="+mj-ea"/>
                <a:sym typeface="+mn-ea"/>
              </a:rPr>
              <a:t>至此，Redis的虚拟机集群实验环境搭建完毕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970020" y="2665095"/>
            <a:ext cx="3832225" cy="117983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243012" y="602297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1.1 </a:t>
            </a:r>
            <a:r>
              <a:rPr lang="en-US" altLang="zh-CN" sz="2400" dirty="0" err="1" smtClean="0">
                <a:latin typeface="+mj-ea"/>
                <a:ea typeface="+mj-ea"/>
              </a:rPr>
              <a:t>Redis</a:t>
            </a:r>
            <a:r>
              <a:rPr lang="zh-CN" altLang="en-US" sz="2400" dirty="0" smtClean="0">
                <a:latin typeface="+mj-ea"/>
                <a:ea typeface="+mj-ea"/>
              </a:rPr>
              <a:t>快速入门</a:t>
            </a:r>
            <a:endParaRPr lang="en-US" altLang="zh-CN" sz="2400" dirty="0"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b="1" dirty="0">
                <a:solidFill>
                  <a:schemeClr val="accent3">
                    <a:lumMod val="50000"/>
                    <a:lumOff val="50000"/>
                  </a:schemeClr>
                </a:solidFill>
                <a:latin typeface="+mj-ea"/>
                <a:ea typeface="+mj-ea"/>
                <a:sym typeface="+mn-ea"/>
              </a:rPr>
              <a:t>1.2 Redis环境搭建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</a:rPr>
              <a:t>可视化工具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 smtClean="0">
                <a:latin typeface="+mj-ea"/>
              </a:rPr>
              <a:t>搭建</a:t>
            </a:r>
            <a:r>
              <a:rPr lang="en-US" altLang="zh-CN" sz="2400" dirty="0" err="1" smtClean="0">
                <a:latin typeface="+mj-ea"/>
              </a:rPr>
              <a:t>Redis</a:t>
            </a:r>
            <a:r>
              <a:rPr lang="zh-CN" altLang="en-US" sz="2400" dirty="0" smtClean="0">
                <a:latin typeface="+mj-ea"/>
                <a:sym typeface="+mn-ea"/>
              </a:rPr>
              <a:t>集群</a:t>
            </a:r>
            <a:r>
              <a:rPr lang="zh-CN" altLang="en-US" sz="2400" dirty="0" smtClean="0">
                <a:latin typeface="+mj-ea"/>
              </a:rPr>
              <a:t>环境</a:t>
            </a:r>
            <a:endParaRPr lang="zh-CN" altLang="en-US" sz="2400" dirty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5958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zh-CN" altLang="en-US" sz="3600" dirty="0" smtClean="0">
                <a:solidFill>
                  <a:srgbClr val="000000"/>
                </a:solidFill>
              </a:rPr>
              <a:t>初识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55879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sp>
        <p:nvSpPr>
          <p:cNvPr id="22" name="矩形 21"/>
          <p:cNvSpPr/>
          <p:nvPr/>
        </p:nvSpPr>
        <p:spPr>
          <a:xfrm>
            <a:off x="1780540" y="2615565"/>
            <a:ext cx="375348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sz="2400">
                <a:latin typeface="+mj-ea"/>
                <a:sym typeface="+mn-ea"/>
              </a:rPr>
              <a:t>在Windows下安装Redis</a:t>
            </a:r>
          </a:p>
        </p:txBody>
      </p:sp>
      <p:sp>
        <p:nvSpPr>
          <p:cNvPr id="23" name="矩形 22"/>
          <p:cNvSpPr/>
          <p:nvPr/>
        </p:nvSpPr>
        <p:spPr>
          <a:xfrm>
            <a:off x="1780540" y="3451225"/>
            <a:ext cx="368236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sz="2400">
                <a:latin typeface="+mj-ea"/>
              </a:rPr>
              <a:t>在Linux下安裝Redis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53238" y="25691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53238" y="33860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1701800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环境搭建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6188" y="12686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253490" y="1268730"/>
            <a:ext cx="5187315" cy="46037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latin typeface="+mj-ea"/>
                <a:sym typeface="+mn-ea"/>
              </a:rPr>
              <a:t>Redis安装-</a:t>
            </a:r>
            <a:r>
              <a:rPr sz="2400">
                <a:latin typeface="+mj-ea"/>
                <a:sym typeface="+mn-ea"/>
              </a:rPr>
              <a:t>在</a:t>
            </a:r>
            <a:r>
              <a:rPr lang="en-US" sz="2400">
                <a:latin typeface="+mj-ea"/>
                <a:sym typeface="+mn-ea"/>
              </a:rPr>
              <a:t>Windows</a:t>
            </a:r>
            <a:r>
              <a:rPr sz="2400">
                <a:latin typeface="+mj-ea"/>
                <a:sym typeface="+mn-ea"/>
              </a:rPr>
              <a:t>下安装Redis</a:t>
            </a:r>
            <a:endParaRPr lang="en-US" altLang="zh-CN" sz="2400" dirty="0">
              <a:latin typeface="+mj-ea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60805" y="1729105"/>
            <a:ext cx="3118485" cy="337185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的Windows安装环境信息</a:t>
            </a:r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1490663" y="2066290"/>
          <a:ext cx="5267325" cy="426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Windows 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10 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64位平台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dis-x64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.2.100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1360805" y="2574925"/>
            <a:ext cx="9890760" cy="1568450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基于Windows 64位的Redis安装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Redis 没有官方的Windows版本，但是微软开源技术团队（Microsoft Open Tech group）长期开发和维护着这个Win64 的Redis版本，更多详细信息参考github上的网址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latin typeface="+mj-ea"/>
                <a:sym typeface="+mn-ea"/>
              </a:rPr>
              <a:t>进入网址，会发现有以下信息需要注意</a:t>
            </a:r>
            <a:r>
              <a:rPr lang="zh-CN" altLang="en-US" sz="1600" dirty="0">
                <a:latin typeface="+mj-ea"/>
                <a:sym typeface="+mn-ea"/>
              </a:rPr>
              <a:t>：</a:t>
            </a:r>
          </a:p>
        </p:txBody>
      </p:sp>
      <p:pic>
        <p:nvPicPr>
          <p:cNvPr id="8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0805" y="4497070"/>
            <a:ext cx="6463030" cy="16738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f58bf5b1-a48b-4362-aa93-55d9de8b780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294dad83-d89a-4281-8c53-a78dac555fa8}"/>
  <p:tag name="TABLE_ENDDRAG_ORIGIN_RECT" val="348*57"/>
  <p:tag name="TABLE_ENDDRAG_RECT" val="507*200*348*5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092,&quot;width&quot;:5604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39a2792-32d4-4298-9086-253ef04f7654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</TotalTime>
  <Words>2938</Words>
  <Application>Microsoft Office PowerPoint</Application>
  <PresentationFormat>宽屏</PresentationFormat>
  <Paragraphs>377</Paragraphs>
  <Slides>66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66</vt:i4>
      </vt:variant>
    </vt:vector>
  </HeadingPairs>
  <TitlesOfParts>
    <vt:vector size="73" baseType="lpstr">
      <vt:lpstr>宋体</vt:lpstr>
      <vt:lpstr>微软雅黑</vt:lpstr>
      <vt:lpstr>Arial</vt:lpstr>
      <vt:lpstr>Calibri</vt:lpstr>
      <vt:lpstr>Times New Roman</vt:lpstr>
      <vt:lpstr>Wingdings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42</cp:revision>
  <cp:lastPrinted>2019-04-18T16:00:00Z</cp:lastPrinted>
  <dcterms:created xsi:type="dcterms:W3CDTF">2019-04-18T16:00:00Z</dcterms:created>
  <dcterms:modified xsi:type="dcterms:W3CDTF">2022-03-11T08:4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